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sldIdLst>
    <p:sldId id="312" r:id="rId3"/>
    <p:sldId id="305" r:id="rId4"/>
  </p:sldIdLst>
  <p:sldSz cx="9144000" cy="6858000" type="screen4x3"/>
  <p:notesSz cx="6858000" cy="9144000"/>
  <p:custDataLst>
    <p:tags r:id="rId5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78CDE9"/>
    <a:srgbClr val="5B9BD5"/>
    <a:srgbClr val="5D68C8"/>
    <a:srgbClr val="7A83D9"/>
    <a:srgbClr val="000001"/>
    <a:srgbClr val="BFC7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55" autoAdjust="0"/>
    <p:restoredTop sz="94660"/>
  </p:normalViewPr>
  <p:slideViewPr>
    <p:cSldViewPr snapToGrid="0">
      <p:cViewPr>
        <p:scale>
          <a:sx n="100" d="100"/>
          <a:sy n="100" d="100"/>
        </p:scale>
        <p:origin x="612" y="-4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B116DA7-40DE-479E-B063-BA759B62B102}" type="datetimeFigureOut">
              <a:rPr lang="ko-KR" altLang="en-US" smtClean="0"/>
              <a:t>2021-11-18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C68BB-4BE6-47F1-9041-0664C5D2B108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734888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B116DA7-40DE-479E-B063-BA759B62B102}" type="datetimeFigureOut">
              <a:rPr lang="ko-KR" altLang="en-US" smtClean="0"/>
              <a:t>2021-11-18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C68BB-4BE6-47F1-9041-0664C5D2B108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060087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B116DA7-40DE-479E-B063-BA759B62B102}" type="datetimeFigureOut">
              <a:rPr lang="ko-KR" altLang="en-US" smtClean="0"/>
              <a:t>2021-11-18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C68BB-4BE6-47F1-9041-0664C5D2B108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570236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A6141117-24B2-4315-8E1C-FD7EC98E31E6}" type="datetimeFigureOut">
              <a:rPr lang="ko-KR" altLang="en-US" smtClean="0"/>
              <a:t>2021-11-1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136036" cy="365125"/>
          </a:xfrm>
          <a:prstGeom prst="rect">
            <a:avLst/>
          </a:prstGeom>
        </p:spPr>
        <p:txBody>
          <a:bodyPr/>
          <a:lstStyle/>
          <a:p>
            <a:fld id="{9B1B0A0A-5712-4E04-953B-ABF0C6B79F7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442274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A6141117-24B2-4315-8E1C-FD7EC98E31E6}" type="datetimeFigureOut">
              <a:rPr lang="ko-KR" altLang="en-US" smtClean="0"/>
              <a:t>2021-11-1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136036" cy="365125"/>
          </a:xfrm>
          <a:prstGeom prst="rect">
            <a:avLst/>
          </a:prstGeom>
        </p:spPr>
        <p:txBody>
          <a:bodyPr/>
          <a:lstStyle/>
          <a:p>
            <a:fld id="{9B1B0A0A-5712-4E04-953B-ABF0C6B79F7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742513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A6141117-24B2-4315-8E1C-FD7EC98E31E6}" type="datetimeFigureOut">
              <a:rPr lang="ko-KR" altLang="en-US" smtClean="0"/>
              <a:t>2021-11-1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136036" cy="365125"/>
          </a:xfrm>
          <a:prstGeom prst="rect">
            <a:avLst/>
          </a:prstGeom>
        </p:spPr>
        <p:txBody>
          <a:bodyPr/>
          <a:lstStyle/>
          <a:p>
            <a:fld id="{9B1B0A0A-5712-4E04-953B-ABF0C6B79F7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596984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A6141117-24B2-4315-8E1C-FD7EC98E31E6}" type="datetimeFigureOut">
              <a:rPr lang="ko-KR" altLang="en-US" smtClean="0"/>
              <a:t>2021-11-18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136036" cy="365125"/>
          </a:xfrm>
          <a:prstGeom prst="rect">
            <a:avLst/>
          </a:prstGeom>
        </p:spPr>
        <p:txBody>
          <a:bodyPr/>
          <a:lstStyle/>
          <a:p>
            <a:fld id="{9B1B0A0A-5712-4E04-953B-ABF0C6B79F7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301556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A6141117-24B2-4315-8E1C-FD7EC98E31E6}" type="datetimeFigureOut">
              <a:rPr lang="ko-KR" altLang="en-US" smtClean="0"/>
              <a:t>2021-11-18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136036" cy="365125"/>
          </a:xfrm>
          <a:prstGeom prst="rect">
            <a:avLst/>
          </a:prstGeom>
        </p:spPr>
        <p:txBody>
          <a:bodyPr/>
          <a:lstStyle/>
          <a:p>
            <a:fld id="{9B1B0A0A-5712-4E04-953B-ABF0C6B79F7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832677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A6141117-24B2-4315-8E1C-FD7EC98E31E6}" type="datetimeFigureOut">
              <a:rPr lang="ko-KR" altLang="en-US" smtClean="0"/>
              <a:t>2021-11-18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136036" cy="365125"/>
          </a:xfrm>
          <a:prstGeom prst="rect">
            <a:avLst/>
          </a:prstGeom>
        </p:spPr>
        <p:txBody>
          <a:bodyPr/>
          <a:lstStyle/>
          <a:p>
            <a:fld id="{9B1B0A0A-5712-4E04-953B-ABF0C6B79F7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236539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A6141117-24B2-4315-8E1C-FD7EC98E31E6}" type="datetimeFigureOut">
              <a:rPr lang="ko-KR" altLang="en-US" smtClean="0"/>
              <a:t>2021-11-18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136036" cy="365125"/>
          </a:xfrm>
          <a:prstGeom prst="rect">
            <a:avLst/>
          </a:prstGeom>
        </p:spPr>
        <p:txBody>
          <a:bodyPr/>
          <a:lstStyle/>
          <a:p>
            <a:fld id="{9B1B0A0A-5712-4E04-953B-ABF0C6B79F7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584619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A6141117-24B2-4315-8E1C-FD7EC98E31E6}" type="datetimeFigureOut">
              <a:rPr lang="ko-KR" altLang="en-US" smtClean="0"/>
              <a:t>2021-11-18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136036" cy="365125"/>
          </a:xfrm>
          <a:prstGeom prst="rect">
            <a:avLst/>
          </a:prstGeom>
        </p:spPr>
        <p:txBody>
          <a:bodyPr/>
          <a:lstStyle/>
          <a:p>
            <a:fld id="{9B1B0A0A-5712-4E04-953B-ABF0C6B79F7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000486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B116DA7-40DE-479E-B063-BA759B62B102}" type="datetimeFigureOut">
              <a:rPr lang="ko-KR" altLang="en-US" smtClean="0"/>
              <a:t>2021-11-18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253683" y="6611664"/>
            <a:ext cx="1290520" cy="219623"/>
          </a:xfrm>
        </p:spPr>
        <p:txBody>
          <a:bodyPr/>
          <a:lstStyle/>
          <a:p>
            <a:fld id="{DE3C68BB-4BE6-47F1-9041-0664C5D2B108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768039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A6141117-24B2-4315-8E1C-FD7EC98E31E6}" type="datetimeFigureOut">
              <a:rPr lang="ko-KR" altLang="en-US" smtClean="0"/>
              <a:t>2021-11-18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136036" cy="365125"/>
          </a:xfrm>
          <a:prstGeom prst="rect">
            <a:avLst/>
          </a:prstGeom>
        </p:spPr>
        <p:txBody>
          <a:bodyPr/>
          <a:lstStyle/>
          <a:p>
            <a:fld id="{9B1B0A0A-5712-4E04-953B-ABF0C6B79F7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766475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A6141117-24B2-4315-8E1C-FD7EC98E31E6}" type="datetimeFigureOut">
              <a:rPr lang="ko-KR" altLang="en-US" smtClean="0"/>
              <a:t>2021-11-1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136036" cy="365125"/>
          </a:xfrm>
          <a:prstGeom prst="rect">
            <a:avLst/>
          </a:prstGeom>
        </p:spPr>
        <p:txBody>
          <a:bodyPr/>
          <a:lstStyle/>
          <a:p>
            <a:fld id="{9B1B0A0A-5712-4E04-953B-ABF0C6B79F7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041784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A6141117-24B2-4315-8E1C-FD7EC98E31E6}" type="datetimeFigureOut">
              <a:rPr lang="ko-KR" altLang="en-US" smtClean="0"/>
              <a:t>2021-11-1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136036" cy="365125"/>
          </a:xfrm>
          <a:prstGeom prst="rect">
            <a:avLst/>
          </a:prstGeom>
        </p:spPr>
        <p:txBody>
          <a:bodyPr/>
          <a:lstStyle/>
          <a:p>
            <a:fld id="{9B1B0A0A-5712-4E04-953B-ABF0C6B79F7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41306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7" name="직사각형 6"/>
          <p:cNvSpPr/>
          <p:nvPr userDrawn="1"/>
        </p:nvSpPr>
        <p:spPr>
          <a:xfrm>
            <a:off x="0" y="0"/>
            <a:ext cx="9144000" cy="64855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28906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B116DA7-40DE-479E-B063-BA759B62B102}" type="datetimeFigureOut">
              <a:rPr lang="ko-KR" altLang="en-US" smtClean="0"/>
              <a:t>2021-11-18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C68BB-4BE6-47F1-9041-0664C5D2B108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821049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B116DA7-40DE-479E-B063-BA759B62B102}" type="datetimeFigureOut">
              <a:rPr lang="ko-KR" altLang="en-US" smtClean="0"/>
              <a:t>2021-11-18</a:t>
            </a:fld>
            <a:endParaRPr lang="ko-KR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C68BB-4BE6-47F1-9041-0664C5D2B108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156822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B116DA7-40DE-479E-B063-BA759B62B102}" type="datetimeFigureOut">
              <a:rPr lang="ko-KR" altLang="en-US" smtClean="0"/>
              <a:t>2021-11-18</a:t>
            </a:fld>
            <a:endParaRPr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C68BB-4BE6-47F1-9041-0664C5D2B108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059731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B116DA7-40DE-479E-B063-BA759B62B102}" type="datetimeFigureOut">
              <a:rPr lang="ko-KR" altLang="en-US" smtClean="0"/>
              <a:t>2021-11-18</a:t>
            </a:fld>
            <a:endParaRPr lang="ko-KR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C68BB-4BE6-47F1-9041-0664C5D2B108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887057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B116DA7-40DE-479E-B063-BA759B62B102}" type="datetimeFigureOut">
              <a:rPr lang="ko-KR" altLang="en-US" smtClean="0"/>
              <a:t>2021-11-18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C68BB-4BE6-47F1-9041-0664C5D2B108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74331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B116DA7-40DE-479E-B063-BA759B62B102}" type="datetimeFigureOut">
              <a:rPr lang="ko-KR" altLang="en-US" smtClean="0"/>
              <a:t>2021-11-18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C68BB-4BE6-47F1-9041-0664C5D2B108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157893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88771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" name="think-cell Slide" r:id="rId16" imgW="532" imgH="533" progId="TCLayout.ActiveDocument.1">
                  <p:embed/>
                </p:oleObj>
              </mc:Choice>
              <mc:Fallback>
                <p:oleObj name="think-cell Slide" r:id="rId16" imgW="532" imgH="5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직사각형 3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ko-KR" altLang="en-US" sz="1800" b="0" i="0" baseline="0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  <a:sym typeface="맑은 고딕" panose="020B0503020000020004" pitchFamily="50" charset="-127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5899" y="553109"/>
            <a:ext cx="6743044" cy="10064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5899" y="1705055"/>
            <a:ext cx="6743044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20120" y="6485506"/>
            <a:ext cx="1290520" cy="2196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spc="-120" baseline="0">
                <a:solidFill>
                  <a:schemeClr val="tx1">
                    <a:tint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fld id="{DE3C68BB-4BE6-47F1-9041-0664C5D2B108}" type="slidenum">
              <a:rPr lang="ko-KR" altLang="en-US" smtClean="0"/>
              <a:pPr/>
              <a:t>‹#›</a:t>
            </a:fld>
            <a:endParaRPr lang="ko-KR" altLang="en-US"/>
          </a:p>
        </p:txBody>
      </p:sp>
      <p:grpSp>
        <p:nvGrpSpPr>
          <p:cNvPr id="7" name="그룹 6"/>
          <p:cNvGrpSpPr/>
          <p:nvPr userDrawn="1"/>
        </p:nvGrpSpPr>
        <p:grpSpPr>
          <a:xfrm>
            <a:off x="6920118" y="37052"/>
            <a:ext cx="2180900" cy="6413511"/>
            <a:chOff x="7136720" y="539972"/>
            <a:chExt cx="2718113" cy="5815250"/>
          </a:xfrm>
        </p:grpSpPr>
        <p:sp>
          <p:nvSpPr>
            <p:cNvPr id="8" name="직사각형 7"/>
            <p:cNvSpPr/>
            <p:nvPr/>
          </p:nvSpPr>
          <p:spPr>
            <a:xfrm>
              <a:off x="7136721" y="755996"/>
              <a:ext cx="2718112" cy="55992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350"/>
            </a:p>
          </p:txBody>
        </p:sp>
        <p:sp>
          <p:nvSpPr>
            <p:cNvPr id="9" name="직사각형 8"/>
            <p:cNvSpPr/>
            <p:nvPr/>
          </p:nvSpPr>
          <p:spPr>
            <a:xfrm>
              <a:off x="7136720" y="539972"/>
              <a:ext cx="2718111" cy="216024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600" b="1" dirty="0"/>
                <a:t>Description</a:t>
              </a:r>
              <a:endParaRPr lang="ko-KR" altLang="en-US" sz="600" b="1" dirty="0"/>
            </a:p>
          </p:txBody>
        </p:sp>
      </p:grpSp>
      <p:graphicFrame>
        <p:nvGraphicFramePr>
          <p:cNvPr id="10" name="표 9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569471462"/>
              </p:ext>
            </p:extLst>
          </p:nvPr>
        </p:nvGraphicFramePr>
        <p:xfrm>
          <a:off x="31318" y="37052"/>
          <a:ext cx="6867625" cy="3962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95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00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547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7541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0782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spc="-120" baseline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명</a:t>
                      </a:r>
                    </a:p>
                  </a:txBody>
                  <a:tcPr marL="74295" marR="74295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700" spc="-120" baseline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295" marR="74295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spc="-120" baseline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작성일</a:t>
                      </a:r>
                    </a:p>
                  </a:txBody>
                  <a:tcPr marL="74295" marR="74295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700" spc="-120" baseline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295" marR="74295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latinLnBrk="1"/>
                      <a:endParaRPr lang="ko-KR" altLang="en-US" sz="700" spc="-12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295" marR="74295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92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spc="-120" baseline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면 명</a:t>
                      </a:r>
                    </a:p>
                  </a:txBody>
                  <a:tcPr marL="74295" marR="74295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700" spc="-120" baseline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295" marR="74295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spc="-120" baseline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작성부서</a:t>
                      </a:r>
                      <a:r>
                        <a:rPr lang="en-US" altLang="ko-KR" sz="700" spc="-120" baseline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700" spc="-120" baseline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작성자</a:t>
                      </a:r>
                    </a:p>
                  </a:txBody>
                  <a:tcPr marL="74295" marR="74295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700" spc="-120" baseline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295" marR="74295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99060" marR="9906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1" name="그림 10"/>
          <p:cNvPicPr>
            <a:picLocks noChangeAspect="1"/>
          </p:cNvPicPr>
          <p:nvPr userDrawn="1"/>
        </p:nvPicPr>
        <p:blipFill rotWithShape="1">
          <a:blip r:embed="rId18"/>
          <a:srcRect t="13625" b="20907"/>
          <a:stretch/>
        </p:blipFill>
        <p:spPr>
          <a:xfrm>
            <a:off x="8261211" y="6485506"/>
            <a:ext cx="839808" cy="190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744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1800" kern="1200" spc="-120" baseline="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 spc="-120" baseline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 spc="-120" baseline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 spc="-12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 spc="-12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 spc="-12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76763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0" name="think-cell Slide" r:id="rId16" imgW="532" imgH="533" progId="TCLayout.ActiveDocument.1">
                  <p:embed/>
                </p:oleObj>
              </mc:Choice>
              <mc:Fallback>
                <p:oleObj name="think-cell Slide" r:id="rId16" imgW="532" imgH="5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ko-KR" altLang="en-US" sz="4400" b="0" i="0" baseline="0" dirty="0">
              <a:latin typeface="맑은 고딕" panose="020B0503020000020004" pitchFamily="50" charset="-127"/>
              <a:ea typeface="맑은 고딕" panose="020B0503020000020004" pitchFamily="50" charset="-127"/>
              <a:cs typeface="+mj-cs"/>
              <a:sym typeface="맑은 고딕" panose="020B0503020000020004" pitchFamily="50" charset="-127"/>
            </a:endParaRPr>
          </a:p>
        </p:txBody>
      </p:sp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96533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28650" y="1825624"/>
            <a:ext cx="7965336" cy="45545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A3F31074-0413-4615-B317-6DBD47A572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/>
          <a:srcRect t="13625" b="20907"/>
          <a:stretch/>
        </p:blipFill>
        <p:spPr>
          <a:xfrm>
            <a:off x="8261211" y="6485506"/>
            <a:ext cx="839808" cy="190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438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 spc="-120" baseline="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 spc="-120" baseline="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 spc="-120" baseline="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spc="-120" baseline="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spc="-120" baseline="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spc="-120" baseline="0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모서리가 둥근 직사각형 3"/>
          <p:cNvSpPr/>
          <p:nvPr/>
        </p:nvSpPr>
        <p:spPr>
          <a:xfrm>
            <a:off x="392895" y="3123528"/>
            <a:ext cx="4644000" cy="54864"/>
          </a:xfrm>
          <a:prstGeom prst="roundRect">
            <a:avLst/>
          </a:prstGeom>
          <a:solidFill>
            <a:schemeClr val="tx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8000"/>
            <a:endParaRPr lang="en-US" altLang="ko-KR" spc="-12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69394" y="2530114"/>
            <a:ext cx="51619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spc="-120" dirty="0" err="1" smtClean="0">
                <a:latin typeface="맑은 고딕" panose="020B0503020000020004" pitchFamily="50" charset="-127"/>
              </a:rPr>
              <a:t>디스쿨</a:t>
            </a:r>
            <a:r>
              <a:rPr lang="ko-KR" altLang="en-US" sz="2800" b="1" spc="-120" dirty="0" smtClean="0">
                <a:latin typeface="맑은 고딕" panose="020B0503020000020004" pitchFamily="50" charset="-127"/>
              </a:rPr>
              <a:t> 배너 이미지 제</a:t>
            </a:r>
            <a:r>
              <a:rPr lang="ko-KR" altLang="en-US" sz="2800" b="1" spc="-120" dirty="0" smtClean="0">
                <a:latin typeface="맑은 고딕" panose="020B0503020000020004" pitchFamily="50" charset="-127"/>
              </a:rPr>
              <a:t>작</a:t>
            </a:r>
            <a:endParaRPr lang="ko-KR" altLang="en-US" sz="2800" b="1" spc="-120" dirty="0">
              <a:latin typeface="맑은 고딕" panose="020B0503020000020004" pitchFamily="50" charset="-127"/>
            </a:endParaRPr>
          </a:p>
        </p:txBody>
      </p:sp>
      <p:graphicFrame>
        <p:nvGraphicFramePr>
          <p:cNvPr id="2" name="표 2">
            <a:extLst>
              <a:ext uri="{FF2B5EF4-FFF2-40B4-BE49-F238E27FC236}">
                <a16:creationId xmlns:a16="http://schemas.microsoft.com/office/drawing/2014/main" id="{932BDDFC-59F1-498F-BA26-F086159903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455244"/>
              </p:ext>
            </p:extLst>
          </p:nvPr>
        </p:nvGraphicFramePr>
        <p:xfrm>
          <a:off x="369395" y="5470236"/>
          <a:ext cx="4667500" cy="7772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1592">
                  <a:extLst>
                    <a:ext uri="{9D8B030D-6E8A-4147-A177-3AD203B41FA5}">
                      <a16:colId xmlns:a16="http://schemas.microsoft.com/office/drawing/2014/main" val="1954259566"/>
                    </a:ext>
                  </a:extLst>
                </a:gridCol>
                <a:gridCol w="3625908">
                  <a:extLst>
                    <a:ext uri="{9D8B030D-6E8A-4147-A177-3AD203B41FA5}">
                      <a16:colId xmlns:a16="http://schemas.microsoft.com/office/drawing/2014/main" val="560680591"/>
                    </a:ext>
                  </a:extLst>
                </a:gridCol>
              </a:tblGrid>
              <a:tr h="24340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spc="-12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속</a:t>
                      </a:r>
                    </a:p>
                  </a:txBody>
                  <a:tcPr anchor="ctr">
                    <a:lnL w="12700" cmpd="sng">
                      <a:noFill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spc="-12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온라인 사업부 </a:t>
                      </a:r>
                      <a:r>
                        <a:rPr lang="ko-KR" altLang="en-US" sz="1100" spc="-120" baseline="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컨텐츠기획팀</a:t>
                      </a:r>
                      <a:endParaRPr lang="ko-KR" altLang="en-US" sz="1100" spc="-120" baseline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0710740"/>
                  </a:ext>
                </a:extLst>
              </a:tr>
              <a:tr h="24340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spc="-12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담당자명</a:t>
                      </a:r>
                    </a:p>
                  </a:txBody>
                  <a:tcPr anchor="ctr">
                    <a:lnL w="12700" cmpd="sng">
                      <a:noFill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spc="-12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 아 영</a:t>
                      </a:r>
                      <a:endParaRPr lang="ko-KR" altLang="en-US" sz="1100" spc="-120" baseline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8198230"/>
                  </a:ext>
                </a:extLst>
              </a:tr>
              <a:tr h="24340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spc="-12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날짜</a:t>
                      </a:r>
                    </a:p>
                  </a:txBody>
                  <a:tcPr anchor="ctr">
                    <a:lnL w="12700" cmpd="sng">
                      <a:noFill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spc="-12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21. </a:t>
                      </a:r>
                      <a:r>
                        <a:rPr lang="en-US" altLang="ko-KR" sz="1100" spc="-12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. 18</a:t>
                      </a:r>
                      <a:endParaRPr lang="ko-KR" altLang="en-US" sz="1100" spc="-120" baseline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46446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12985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1371093"/>
              </p:ext>
            </p:extLst>
          </p:nvPr>
        </p:nvGraphicFramePr>
        <p:xfrm>
          <a:off x="6930451" y="300488"/>
          <a:ext cx="2157105" cy="260924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09771">
                  <a:extLst>
                    <a:ext uri="{9D8B030D-6E8A-4147-A177-3AD203B41FA5}">
                      <a16:colId xmlns:a16="http://schemas.microsoft.com/office/drawing/2014/main" val="2800092372"/>
                    </a:ext>
                  </a:extLst>
                </a:gridCol>
                <a:gridCol w="1947334">
                  <a:extLst>
                    <a:ext uri="{9D8B030D-6E8A-4147-A177-3AD203B41FA5}">
                      <a16:colId xmlns:a16="http://schemas.microsoft.com/office/drawing/2014/main" val="3117080280"/>
                    </a:ext>
                  </a:extLst>
                </a:gridCol>
              </a:tblGrid>
              <a:tr h="20132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700" b="1" spc="-12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o</a:t>
                      </a:r>
                      <a:endParaRPr lang="ko-KR" altLang="en-US" sz="700" b="1" spc="-120" baseline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700" b="1" spc="-12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escription</a:t>
                      </a:r>
                      <a:endParaRPr lang="ko-KR" altLang="en-US" sz="700" b="1" spc="-120" baseline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4968591"/>
                  </a:ext>
                </a:extLst>
              </a:tr>
              <a:tr h="20132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700" spc="-12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*</a:t>
                      </a:r>
                      <a:endParaRPr lang="ko-KR" altLang="en-US" sz="700" spc="-120" baseline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/>
                        <a:t>기존에 제작되어 있는 디자인을 바탕으로 텍스트만 수정</a:t>
                      </a:r>
                      <a:endParaRPr lang="en-US" altLang="ko-KR" sz="1000" dirty="0"/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167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700" spc="-12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700" spc="-120" baseline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 latinLnBrk="1"/>
                      <a:r>
                        <a:rPr lang="ko-KR" altLang="en-US" sz="800" kern="1200" spc="-100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텍스트 수정</a:t>
                      </a:r>
                      <a:endParaRPr lang="en-US" altLang="ko-KR" sz="800" kern="1200" spc="-100" baseline="0" dirty="0" smtClean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fontAlgn="base" latinLnBrk="1"/>
                      <a:endParaRPr lang="en-US" altLang="ko-KR" sz="800" kern="1200" spc="-100" baseline="0" dirty="0" smtClean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fontAlgn="base" latinLnBrk="1"/>
                      <a:r>
                        <a:rPr lang="en-US" altLang="ko-KR" sz="800" kern="1200" spc="-100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22 </a:t>
                      </a:r>
                      <a:r>
                        <a:rPr lang="ko-KR" altLang="en-US" sz="800" kern="1200" spc="-100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겨울 시간표</a:t>
                      </a:r>
                      <a:endParaRPr lang="en-US" altLang="ko-KR" sz="800" kern="1200" spc="-100" baseline="0" dirty="0" smtClean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fontAlgn="base" latinLnBrk="1"/>
                      <a:r>
                        <a:rPr lang="en-US" altLang="ko-KR" sz="800" kern="1200" spc="-100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</a:t>
                      </a:r>
                      <a:r>
                        <a:rPr lang="ko-KR" altLang="en-US" sz="800" kern="1200" spc="-100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총 </a:t>
                      </a:r>
                      <a:r>
                        <a:rPr lang="en-US" altLang="ko-KR" sz="800" kern="1200" spc="-100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  <a:r>
                        <a:rPr lang="ko-KR" altLang="en-US" sz="800" kern="1200" spc="-100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개의 사이즈로 </a:t>
                      </a:r>
                      <a:r>
                        <a:rPr lang="en-US" altLang="ko-KR" sz="800" kern="1200" spc="-100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  <a:r>
                        <a:rPr lang="ko-KR" altLang="en-US" sz="800" kern="1200" spc="-100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개 이미지 제작 부탁드립니다</a:t>
                      </a:r>
                      <a:r>
                        <a:rPr lang="en-US" altLang="ko-KR" sz="800" kern="1200" spc="-100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.)</a:t>
                      </a:r>
                    </a:p>
                    <a:p>
                      <a:pPr fontAlgn="base" latinLnBrk="1"/>
                      <a:r>
                        <a:rPr lang="ko-KR" altLang="en-US" sz="800" kern="1200" spc="-100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사이즈</a:t>
                      </a:r>
                      <a:r>
                        <a:rPr lang="en-US" altLang="ko-KR" sz="800" kern="1200" spc="-100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1 : 750X160</a:t>
                      </a:r>
                    </a:p>
                    <a:p>
                      <a:pPr fontAlgn="base" latinLnBrk="1"/>
                      <a:r>
                        <a:rPr lang="ko-KR" altLang="en-US" sz="800" kern="1200" spc="-100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사이즈</a:t>
                      </a:r>
                      <a:r>
                        <a:rPr lang="en-US" altLang="ko-KR" sz="800" kern="1200" spc="-100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2 : 288X75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61557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spc="-12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800" spc="-120" baseline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 latinLnBrk="1"/>
                      <a:endParaRPr lang="en-US" altLang="ko-KR" sz="800" kern="1200" spc="-100" baseline="0" dirty="0" smtClean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64116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spc="-12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ko-KR" altLang="en-US" sz="800" spc="-120" baseline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kern="1200" spc="-100" baseline="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70392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spc="-12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endParaRPr lang="ko-KR" altLang="en-US" sz="800" spc="-120" baseline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fontAlgn="base" latinLnBrk="1"/>
                      <a:endParaRPr lang="ko-KR" altLang="en-US" sz="800" kern="1200" spc="-100" baseline="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15713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spc="-12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endParaRPr lang="ko-KR" altLang="en-US" sz="800" spc="-120" baseline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 latinLnBrk="1"/>
                      <a:endParaRPr lang="ko-KR" altLang="en-US" sz="800" kern="1200" spc="-100" baseline="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31167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spc="-12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endParaRPr lang="ko-KR" altLang="en-US" sz="800" spc="-120" baseline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800" kern="1200" spc="-100" baseline="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1370979"/>
                  </a:ext>
                </a:extLst>
              </a:tr>
            </a:tbl>
          </a:graphicData>
        </a:graphic>
      </p:graphicFrame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367" y="782506"/>
            <a:ext cx="6497894" cy="1432961"/>
          </a:xfrm>
          <a:prstGeom prst="rect">
            <a:avLst/>
          </a:prstGeom>
        </p:spPr>
      </p:pic>
      <p:sp>
        <p:nvSpPr>
          <p:cNvPr id="3" name="직사각형 2"/>
          <p:cNvSpPr/>
          <p:nvPr/>
        </p:nvSpPr>
        <p:spPr>
          <a:xfrm>
            <a:off x="1943100" y="1619250"/>
            <a:ext cx="2166938" cy="34766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>
                <a:solidFill>
                  <a:schemeClr val="tx1"/>
                </a:solidFill>
              </a:rPr>
              <a:t>2022 </a:t>
            </a:r>
            <a:r>
              <a:rPr lang="ko-KR" altLang="en-US" dirty="0" smtClean="0">
                <a:solidFill>
                  <a:schemeClr val="tx1"/>
                </a:solidFill>
              </a:rPr>
              <a:t>겨울 시간표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2071177" y="1619250"/>
            <a:ext cx="1896733" cy="347663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F465CB88-723C-4D92-8EDF-5165BC1ADDFB}"/>
              </a:ext>
            </a:extLst>
          </p:cNvPr>
          <p:cNvSpPr/>
          <p:nvPr/>
        </p:nvSpPr>
        <p:spPr>
          <a:xfrm>
            <a:off x="1990725" y="1519529"/>
            <a:ext cx="188452" cy="2077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235313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IELItHb8AlkCZ2srX4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jjg7iLv.CKj9P4wTdeKA"/>
</p:tagLst>
</file>

<file path=ppt/theme/theme1.xml><?xml version="1.0" encoding="utf-8"?>
<a:theme xmlns:a="http://schemas.openxmlformats.org/drawingml/2006/main" name="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497</TotalTime>
  <Words>62</Words>
  <Application>Microsoft Office PowerPoint</Application>
  <PresentationFormat>화면 슬라이드 쇼(4:3)</PresentationFormat>
  <Paragraphs>25</Paragraphs>
  <Slides>2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3</vt:i4>
      </vt:variant>
      <vt:variant>
        <vt:lpstr>테마</vt:lpstr>
      </vt:variant>
      <vt:variant>
        <vt:i4>2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</vt:i4>
      </vt:variant>
    </vt:vector>
  </HeadingPairs>
  <TitlesOfParts>
    <vt:vector size="8" baseType="lpstr">
      <vt:lpstr>맑은 고딕</vt:lpstr>
      <vt:lpstr>Arial</vt:lpstr>
      <vt:lpstr>Calibri</vt:lpstr>
      <vt:lpstr>Office 테마</vt:lpstr>
      <vt:lpstr>디자인 사용자 지정</vt:lpstr>
      <vt:lpstr>think-cell Slide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시대학원</dc:creator>
  <cp:lastModifiedBy>시대학원</cp:lastModifiedBy>
  <cp:revision>269</cp:revision>
  <dcterms:created xsi:type="dcterms:W3CDTF">2019-07-15T07:34:39Z</dcterms:created>
  <dcterms:modified xsi:type="dcterms:W3CDTF">2021-11-18T05:25:54Z</dcterms:modified>
</cp:coreProperties>
</file>